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44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114" y="6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10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10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3C050F4-23C8-4EAD-9502-A390F500BC2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吹瓶空气回收量高达40%</a:t>
            </a:r>
            <a:endParaRPr lang="zh-CN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3633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cs typeface="FZZhunYuan-M02S"/>
              </a:rPr>
              <a:t>ARK</a:t>
            </a:r>
            <a:r>
              <a:rPr dirty="0">
                <a:latin typeface="FZZhunYuan-M02S"/>
                <a:cs typeface="FZZhunYuan-M02S"/>
              </a:rPr>
              <a:t>：空气回收套件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优化成本, </a:t>
            </a:r>
            <a:r>
              <a:rPr lang="ja-JP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Universal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1005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将高达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40%</a:t>
                      </a:r>
                      <a:r>
                        <a:rPr lang="en-US" sz="1200" dirty="0"/>
                        <a:t>的吹瓶用气回收重用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仅</a:t>
                      </a:r>
                      <a:r>
                        <a:rPr lang="en-US" sz="1200" dirty="0">
                          <a:latin typeface="+mn-lt"/>
                        </a:rPr>
                        <a:t>12-24</a:t>
                      </a:r>
                      <a:r>
                        <a:rPr lang="en-US" sz="1200" dirty="0"/>
                        <a:t>个月就收回投资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所需压缩机数量更少，显著降低耗电量 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一般吹瓶后排出的气体会浪费掉，该空气回收套件可回收大量吹瓶用气并用作生产目的，因此显著节约了能耗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回收后的空气将作为</a:t>
                      </a:r>
                      <a:br>
                        <a:rPr lang="zh-CN" altLang="fr-FR" sz="1000" dirty="0"/>
                      </a:b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以下生产用气：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预吹瓶空气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吹瓶星轮用气 </a:t>
                      </a:r>
                      <a:br>
                        <a:rPr lang="zh-CN" altLang="fr-FR" sz="1000" dirty="0"/>
                      </a:br>
                      <a:r>
                        <a:rPr kumimoji="0" lang="zh-CN" alt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（拉伸气缸和吹嘴气缸）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回收到的额外气体也可送入工厂的供气网络，用作</a:t>
                      </a:r>
                      <a:r>
                        <a:rPr kumimoji="0" lang="zh-CN" altLang="fr-FR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他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由于卫生方面的原因，空气回收选件与</a:t>
                      </a:r>
                      <a:r>
                        <a:rPr kumimoji="0" lang="fr-FR" altLang="zh-CN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Predis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设备不兼容。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3374" y="4329100"/>
            <a:ext cx="1512168" cy="131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049335C9-D9CB-44D7-8518-15AAE4962C77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2512641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6</TotalTime>
  <Words>49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LIOMT</vt:lpstr>
      <vt:lpstr>think-cell Folie</vt:lpstr>
      <vt:lpstr>吹瓶空气回收量高达4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20</cp:revision>
  <dcterms:created xsi:type="dcterms:W3CDTF">2017-06-28T07:21:44Z</dcterms:created>
  <dcterms:modified xsi:type="dcterms:W3CDTF">2019-10-10T13:4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29:07.0162862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